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7"/>
  </p:notesMasterIdLst>
  <p:handoutMasterIdLst>
    <p:handoutMasterId r:id="rId48"/>
  </p:handoutMasterIdLst>
  <p:sldIdLst>
    <p:sldId id="321" r:id="rId5"/>
    <p:sldId id="2145705986" r:id="rId6"/>
    <p:sldId id="304" r:id="rId7"/>
    <p:sldId id="2145705826" r:id="rId8"/>
    <p:sldId id="2145706051" r:id="rId9"/>
    <p:sldId id="2145706052" r:id="rId10"/>
    <p:sldId id="2145706053" r:id="rId11"/>
    <p:sldId id="2145706110" r:id="rId12"/>
    <p:sldId id="2145706054" r:id="rId13"/>
    <p:sldId id="2145706132" r:id="rId14"/>
    <p:sldId id="2145706148" r:id="rId15"/>
    <p:sldId id="2145706133" r:id="rId16"/>
    <p:sldId id="2145706055" r:id="rId17"/>
    <p:sldId id="2145706059" r:id="rId18"/>
    <p:sldId id="2145706071" r:id="rId19"/>
    <p:sldId id="2145706139" r:id="rId20"/>
    <p:sldId id="2145706140" r:id="rId21"/>
    <p:sldId id="2145706070" r:id="rId22"/>
    <p:sldId id="2145706141" r:id="rId23"/>
    <p:sldId id="2145706074" r:id="rId24"/>
    <p:sldId id="2145706143" r:id="rId25"/>
    <p:sldId id="2145706088" r:id="rId26"/>
    <p:sldId id="2145706118" r:id="rId27"/>
    <p:sldId id="2145706119" r:id="rId28"/>
    <p:sldId id="2145706142" r:id="rId29"/>
    <p:sldId id="2145706063" r:id="rId30"/>
    <p:sldId id="2145706089" r:id="rId31"/>
    <p:sldId id="2145706144" r:id="rId32"/>
    <p:sldId id="2145706112" r:id="rId33"/>
    <p:sldId id="2145706145" r:id="rId34"/>
    <p:sldId id="2145706075" r:id="rId35"/>
    <p:sldId id="2145706084" r:id="rId36"/>
    <p:sldId id="2145706081" r:id="rId37"/>
    <p:sldId id="2145706083" r:id="rId38"/>
    <p:sldId id="2145706078" r:id="rId39"/>
    <p:sldId id="2145706079" r:id="rId40"/>
    <p:sldId id="2145706146" r:id="rId41"/>
    <p:sldId id="2145706087" r:id="rId42"/>
    <p:sldId id="2145706147" r:id="rId43"/>
    <p:sldId id="2145706138" r:id="rId44"/>
    <p:sldId id="2145706136" r:id="rId45"/>
    <p:sldId id="2145705823" r:id="rId46"/>
  </p:sldIdLst>
  <p:sldSz cx="12192000" cy="6858000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1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1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" r="-125" b="27810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0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2" t="8561" r="7647" b="6318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32043" y="836713"/>
            <a:ext cx="6468002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0" t="6221" r="9445" b="34946"/>
          <a:stretch/>
        </p:blipFill>
        <p:spPr>
          <a:xfrm>
            <a:off x="145992" y="1202723"/>
            <a:ext cx="4539050" cy="500983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8" r="8370"/>
          <a:stretch/>
        </p:blipFill>
        <p:spPr>
          <a:xfrm>
            <a:off x="292318" y="804334"/>
            <a:ext cx="5254991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11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5695A2-0032-31BD-E0FB-20694A66E2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0" t="15542" r="9715" b="12962"/>
          <a:stretch/>
        </p:blipFill>
        <p:spPr>
          <a:xfrm>
            <a:off x="18032" y="1843215"/>
            <a:ext cx="5273967" cy="31715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1999" y="1304821"/>
            <a:ext cx="6797372" cy="424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3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Give feedback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37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anage Ticket</a:t>
            </a:r>
            <a:br>
              <a:rPr lang="en-GB" dirty="0"/>
            </a:br>
            <a:endParaRPr lang="en-GB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3" r="9463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  <a:br>
              <a:rPr lang="en-GB" dirty="0"/>
            </a:br>
            <a:endParaRPr lang="en-GB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s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9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3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0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EB4151-5ABE-4E87-A035-4EDEEA285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841" y="787274"/>
            <a:ext cx="9346318" cy="5894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62973846-13C4-F63F-84B4-72FD6D3F491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43" b="17243"/>
          <a:stretch/>
        </p:blipFill>
        <p:spPr/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860625" y="5021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14C43817-1032-6613-45B0-F41C3A43353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05" b="14605"/>
          <a:stretch/>
        </p:blipFill>
        <p:spPr/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Q&amp;A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264A70E7-A741-F7EA-5F9A-8AFDCE631196}"/>
              </a:ext>
            </a:extLst>
          </p:cNvPr>
          <p:cNvSpPr txBox="1">
            <a:spLocks/>
          </p:cNvSpPr>
          <p:nvPr/>
        </p:nvSpPr>
        <p:spPr>
          <a:xfrm>
            <a:off x="-1360759" y="3115511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QUESTIONS AND ANSWERS</a:t>
            </a:r>
          </a:p>
        </p:txBody>
      </p:sp>
    </p:spTree>
    <p:extLst>
      <p:ext uri="{BB962C8B-B14F-4D97-AF65-F5344CB8AC3E}">
        <p14:creationId xmlns:p14="http://schemas.microsoft.com/office/powerpoint/2010/main" val="3416949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680405e6-b67e-4188-afe9-1f6c4cc802d0"/>
    <ds:schemaRef ds:uri="5a0a5fd8-e554-4dec-ae9e-1a78583e7e41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283</TotalTime>
  <Words>192</Words>
  <Application>Microsoft Office PowerPoint</Application>
  <PresentationFormat>Widescreen</PresentationFormat>
  <Paragraphs>55</Paragraphs>
  <Slides>4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UI Design – Direct Messages</vt:lpstr>
      <vt:lpstr>Database Entity – Direct Messages</vt:lpstr>
      <vt:lpstr>UI Design – Meeting</vt:lpstr>
      <vt:lpstr>UI Design – Meeting</vt:lpstr>
      <vt:lpstr>UI Design – Files</vt:lpstr>
      <vt:lpstr>UI Design – Files</vt:lpstr>
      <vt:lpstr>UI Design – Files</vt:lpstr>
      <vt:lpstr>Database Entity – Files</vt:lpstr>
      <vt:lpstr>UI Design – Give feedback</vt:lpstr>
      <vt:lpstr>UI Design – Manage Ticket </vt:lpstr>
      <vt:lpstr>Database Entity – Manage Ticket 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UI Design – Calendar</vt:lpstr>
      <vt:lpstr>UI Design – Calendar</vt:lpstr>
      <vt:lpstr>UI Design – Calendar</vt:lpstr>
      <vt:lpstr>UI Design – Calendar</vt:lpstr>
      <vt:lpstr>UI Design – Activity </vt:lpstr>
      <vt:lpstr>Database Entity – Activity </vt:lpstr>
      <vt:lpstr>PowerPoint Presentation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24</cp:revision>
  <dcterms:created xsi:type="dcterms:W3CDTF">2023-03-02T06:20:39Z</dcterms:created>
  <dcterms:modified xsi:type="dcterms:W3CDTF">2024-06-11T08:4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